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766" r:id="rId2"/>
  </p:sldIdLst>
  <p:sldSz cx="9144000" cy="6858000" type="screen4x3"/>
  <p:notesSz cx="7315200" cy="96012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448" userDrawn="1">
          <p15:clr>
            <a:srgbClr val="A4A3A4"/>
          </p15:clr>
        </p15:guide>
        <p15:guide id="11" orient="horz" pos="2160">
          <p15:clr>
            <a:srgbClr val="A4A3A4"/>
          </p15:clr>
        </p15:guide>
        <p15:guide id="12" orient="horz" pos="3363" userDrawn="1">
          <p15:clr>
            <a:srgbClr val="A4A3A4"/>
          </p15:clr>
        </p15:guide>
        <p15:guide id="13" orient="horz" pos="1392" userDrawn="1">
          <p15:clr>
            <a:srgbClr val="A4A3A4"/>
          </p15:clr>
        </p15:guide>
        <p15:guide id="14" pos="2640" userDrawn="1">
          <p15:clr>
            <a:srgbClr val="A4A3A4"/>
          </p15:clr>
        </p15:guide>
        <p15:guide id="15" pos="3216" userDrawn="1">
          <p15:clr>
            <a:srgbClr val="A4A3A4"/>
          </p15:clr>
        </p15:guide>
        <p15:guide id="16" pos="5568" userDrawn="1">
          <p15:clr>
            <a:srgbClr val="A4A3A4"/>
          </p15:clr>
        </p15:guide>
        <p15:guide id="17" orient="horz" pos="3301" userDrawn="1">
          <p15:clr>
            <a:srgbClr val="A4A3A4"/>
          </p15:clr>
        </p15:guide>
        <p15:guide id="18" orient="horz" pos="3528" userDrawn="1">
          <p15:clr>
            <a:srgbClr val="A4A3A4"/>
          </p15:clr>
        </p15:guide>
        <p15:guide id="19" orient="horz" pos="2760" userDrawn="1">
          <p15:clr>
            <a:srgbClr val="A4A3A4"/>
          </p15:clr>
        </p15:guide>
        <p15:guide id="20" orient="horz" pos="1320" userDrawn="1">
          <p15:clr>
            <a:srgbClr val="A4A3A4"/>
          </p15:clr>
        </p15:guide>
        <p15:guide id="21" orient="horz" pos="912" userDrawn="1">
          <p15:clr>
            <a:srgbClr val="A4A3A4"/>
          </p15:clr>
        </p15:guide>
        <p15:guide id="22" orient="horz" pos="15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danov, Bogdan" initials="BN" lastIdx="1" clrIdx="0">
    <p:extLst>
      <p:ext uri="{19B8F6BF-5375-455C-9EA6-DF929625EA0E}">
        <p15:presenceInfo xmlns:p15="http://schemas.microsoft.com/office/powerpoint/2012/main" userId="Nedanov, Bogd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565A"/>
    <a:srgbClr val="08DA71"/>
    <a:srgbClr val="77A721"/>
    <a:srgbClr val="79AA22"/>
    <a:srgbClr val="069C51"/>
    <a:srgbClr val="575757"/>
    <a:srgbClr val="000000"/>
    <a:srgbClr val="FFCD00"/>
    <a:srgbClr val="ED8B00"/>
    <a:srgbClr val="DB29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50" autoAdjust="0"/>
    <p:restoredTop sz="84637" autoAdjust="0"/>
  </p:normalViewPr>
  <p:slideViewPr>
    <p:cSldViewPr snapToGrid="0" showGuides="1">
      <p:cViewPr varScale="1">
        <p:scale>
          <a:sx n="60" d="100"/>
          <a:sy n="60" d="100"/>
        </p:scale>
        <p:origin x="1644" y="36"/>
      </p:cViewPr>
      <p:guideLst>
        <p:guide pos="448"/>
        <p:guide orient="horz" pos="2160"/>
        <p:guide orient="horz" pos="3363"/>
        <p:guide orient="horz" pos="1392"/>
        <p:guide pos="2640"/>
        <p:guide pos="3216"/>
        <p:guide pos="5568"/>
        <p:guide orient="horz" pos="3301"/>
        <p:guide orient="horz" pos="3528"/>
        <p:guide orient="horz" pos="2760"/>
        <p:guide orient="horz" pos="1320"/>
        <p:guide orient="horz" pos="912"/>
        <p:guide orient="horz" pos="158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2" d="100"/>
        <a:sy n="102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9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9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: Xinran, He et al., Practical Lessons from Predicting Clicks</a:t>
            </a:r>
            <a:r>
              <a:rPr lang="en-US" baseline="0" dirty="0" smtClean="0"/>
              <a:t> on Ads at Facebook, </a:t>
            </a:r>
            <a:r>
              <a:rPr lang="en-US" b="1" baseline="0" dirty="0" smtClean="0"/>
              <a:t>Internal Workshop on Data Mining for Online Advertising</a:t>
            </a:r>
            <a:r>
              <a:rPr lang="en-US" baseline="0" dirty="0" smtClean="0"/>
              <a:t>, 2014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8596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665289"/>
            <a:ext cx="8391524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758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 sz="120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200"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200"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68824" y="2125013"/>
            <a:ext cx="4206240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265735" y="2125013"/>
            <a:ext cx="4206240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08509"/>
            <a:ext cx="2029968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199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9116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lang="en-US" noProof="0" dirty="0" smtClean="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30199" y="1700213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3218" y="1700213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321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3019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 Black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659625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5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8196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81960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48037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81960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81960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48936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8038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0817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77999" y="2500333"/>
            <a:ext cx="3837653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2651561"/>
            <a:ext cx="383765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4930110" y="2651561"/>
            <a:ext cx="3843727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dirty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dirty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dirty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dirty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4930110" y="2505786"/>
            <a:ext cx="3837653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6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 smtClean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 smtClean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 smtClean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 smtClean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 smtClean="0"/>
              <a:t>Identity Theft: Modeling Approaches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 smtClean="0"/>
              <a:t>IRS - Identity Theft: Modeling Approaches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816442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9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IRS - Identity Theft: Modeling Approaches</a:t>
            </a:r>
            <a:endParaRPr lang="en-US" noProof="0" dirty="0"/>
          </a:p>
        </p:txBody>
      </p:sp>
      <p:sp>
        <p:nvSpPr>
          <p:cNvPr id="15" name="CaseCode"/>
          <p:cNvSpPr txBox="1"/>
          <p:nvPr userDrawn="1"/>
        </p:nvSpPr>
        <p:spPr>
          <a:xfrm>
            <a:off x="4751388" y="6476999"/>
            <a:ext cx="3672420" cy="20005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r" defTabSz="914400" rtl="0" eaLnBrk="1" latinLnBrk="0" hangingPunct="1">
              <a:spcBef>
                <a:spcPts val="0"/>
              </a:spcBef>
              <a:buSzPct val="100000"/>
              <a:buFontTx/>
              <a:buNone/>
            </a:pPr>
            <a:r>
              <a:rPr lang="en-US" sz="800" noProof="0" dirty="0" smtClean="0"/>
              <a:t>IRS - Identity Theft: Modeling Approaches</a:t>
            </a:r>
            <a:endParaRPr lang="en-US" sz="65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Copyright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tx1"/>
                </a:solidFill>
              </a:rPr>
              <a:t>Deloitte</a:t>
            </a:r>
            <a:r>
              <a:rPr lang="en-US" sz="650" baseline="0" noProof="0" dirty="0" smtClean="0">
                <a:solidFill>
                  <a:schemeClr val="tx1"/>
                </a:solidFill>
              </a:rPr>
              <a:t> Consulting LLP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8" r:id="rId33"/>
    <p:sldLayoutId id="2147483751" r:id="rId34"/>
    <p:sldLayoutId id="2147483724" r:id="rId35"/>
    <p:sldLayoutId id="2147483725" r:id="rId36"/>
    <p:sldLayoutId id="2147483726" r:id="rId37"/>
    <p:sldLayoutId id="2147483727" r:id="rId38"/>
    <p:sldLayoutId id="2147483698" r:id="rId39"/>
    <p:sldLayoutId id="2147483752" r:id="rId40"/>
    <p:sldLayoutId id="2147483696" r:id="rId4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37" userDrawn="1">
          <p15:clr>
            <a:srgbClr val="F26B43"/>
          </p15:clr>
        </p15:guide>
        <p15:guide id="5" pos="5523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372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022" userDrawn="1">
          <p15:clr>
            <a:srgbClr val="F26B43"/>
          </p15:clr>
        </p15:guide>
        <p15:guide id="13" pos="1137" userDrawn="1">
          <p15:clr>
            <a:srgbClr val="F26B43"/>
          </p15:clr>
        </p15:guide>
        <p15:guide id="14" pos="1920" userDrawn="1">
          <p15:clr>
            <a:srgbClr val="F26B43"/>
          </p15:clr>
        </p15:guide>
        <p15:guide id="15" pos="2033" userDrawn="1">
          <p15:clr>
            <a:srgbClr val="F26B43"/>
          </p15:clr>
        </p15:guide>
        <p15:guide id="16" pos="4620" userDrawn="1">
          <p15:clr>
            <a:srgbClr val="F26B43"/>
          </p15:clr>
        </p15:guide>
        <p15:guide id="17" pos="2823" userDrawn="1">
          <p15:clr>
            <a:srgbClr val="F26B43"/>
          </p15:clr>
        </p15:guide>
        <p15:guide id="18" pos="293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3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2217" y="537571"/>
            <a:ext cx="8391525" cy="334101"/>
          </a:xfrm>
        </p:spPr>
        <p:txBody>
          <a:bodyPr/>
          <a:lstStyle/>
          <a:p>
            <a:r>
              <a:rPr lang="en-US" dirty="0"/>
              <a:t>Feature transformation using ensemble tre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7253" y="1312650"/>
            <a:ext cx="4379299" cy="366948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62217" y="1742956"/>
            <a:ext cx="4375036" cy="409342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600" dirty="0" smtClean="0"/>
              <a:t>Approach: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 smtClean="0"/>
              <a:t>X is the original feature matrix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F</a:t>
            </a:r>
            <a:r>
              <a:rPr lang="en-US" sz="1600" dirty="0" smtClean="0"/>
              <a:t>irst step is to build a series of ‘shallow’ trees (e.g. use random forest or gradient boosted trees).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E</a:t>
            </a:r>
            <a:r>
              <a:rPr lang="en-US" sz="1600" dirty="0" smtClean="0"/>
              <a:t>ach leaf of each tree becomes a categorical input variable in a new feature matrix (i.e. one-one hot encoding to create dummy variables).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T</a:t>
            </a:r>
            <a:r>
              <a:rPr lang="en-US" sz="1600" dirty="0" smtClean="0"/>
              <a:t>he transformed feature set is now sparse.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T</a:t>
            </a:r>
            <a:r>
              <a:rPr lang="en-US" sz="1600" dirty="0" smtClean="0"/>
              <a:t>he new features are then used to train a sparse linear classifier (e.g. logistic regression with lasso [L1</a:t>
            </a:r>
            <a:r>
              <a:rPr lang="en-US" sz="1600" dirty="0"/>
              <a:t>]</a:t>
            </a:r>
            <a:r>
              <a:rPr lang="en-US" sz="1600" dirty="0" smtClean="0"/>
              <a:t> regularization).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C</a:t>
            </a:r>
            <a:r>
              <a:rPr lang="en-US" sz="1600" dirty="0" smtClean="0"/>
              <a:t>an output probabilities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62218" y="1206574"/>
            <a:ext cx="817777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600" dirty="0" smtClean="0"/>
              <a:t>Example Use Case: Facebook – Predicting Clicks on Ads</a:t>
            </a:r>
            <a:r>
              <a:rPr lang="en-US" sz="1600" baseline="30000" dirty="0" smtClean="0"/>
              <a:t>1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5351307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.potx" id="{9103F8A6-FE49-4C5D-85B4-E6CA7DAE80DB}" vid="{BDD2BA39-1E12-4F89-8EEC-E7A76A708A5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09</TotalTime>
  <Words>137</Words>
  <Application>Microsoft Office PowerPoint</Application>
  <PresentationFormat>On-screen Show (4:3)</PresentationFormat>
  <Paragraphs>1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Open Sans</vt:lpstr>
      <vt:lpstr>Verdana</vt:lpstr>
      <vt:lpstr>Deloitte 16_9 onscreen</vt:lpstr>
      <vt:lpstr>think-cell Slide</vt:lpstr>
      <vt:lpstr>Feature transformation using ensemble trees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Verdana Bold</dc:title>
  <dc:creator>Lafrance, Wayne</dc:creator>
  <cp:lastModifiedBy>Nedanov, Bogdan</cp:lastModifiedBy>
  <cp:revision>380</cp:revision>
  <cp:lastPrinted>2014-06-25T02:16:22Z</cp:lastPrinted>
  <dcterms:created xsi:type="dcterms:W3CDTF">2016-05-12T20:21:22Z</dcterms:created>
  <dcterms:modified xsi:type="dcterms:W3CDTF">2017-03-09T16:35:27Z</dcterms:modified>
</cp:coreProperties>
</file>